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7"/>
  </p:notesMasterIdLst>
  <p:handoutMasterIdLst>
    <p:handoutMasterId r:id="rId18"/>
  </p:handoutMasterIdLst>
  <p:sldIdLst>
    <p:sldId id="267" r:id="rId6"/>
    <p:sldId id="259" r:id="rId7"/>
    <p:sldId id="268" r:id="rId8"/>
    <p:sldId id="269" r:id="rId9"/>
    <p:sldId id="270" r:id="rId10"/>
    <p:sldId id="271" r:id="rId11"/>
    <p:sldId id="272" r:id="rId12"/>
    <p:sldId id="273" r:id="rId13"/>
    <p:sldId id="274" r:id="rId14"/>
    <p:sldId id="258" r:id="rId15"/>
    <p:sldId id="257" r:id="rId16"/>
  </p:sldIdLst>
  <p:sldSz cx="12192000" cy="6858000"/>
  <p:notesSz cx="7099300" cy="10234613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5" autoAdjust="0"/>
    <p:restoredTop sz="80769" autoAdjust="0"/>
  </p:normalViewPr>
  <p:slideViewPr>
    <p:cSldViewPr snapToObjects="1" showGuides="1">
      <p:cViewPr varScale="1">
        <p:scale>
          <a:sx n="51" d="100"/>
          <a:sy n="51" d="100"/>
        </p:scale>
        <p:origin x="1256" y="4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b="1" dirty="0"/>
              <a:t>Baca setelah paragraf1: </a:t>
            </a:r>
            <a:r>
              <a:rPr lang="id-ID" dirty="0"/>
              <a:t>Ketika terjadi masalah diradio </a:t>
            </a:r>
            <a:r>
              <a:rPr lang="id-ID" dirty="0" err="1"/>
              <a:t>stack</a:t>
            </a:r>
            <a:r>
              <a:rPr lang="id-ID" dirty="0"/>
              <a:t> yang akan bertindak pada </a:t>
            </a:r>
            <a:r>
              <a:rPr lang="id-ID" dirty="0" err="1"/>
              <a:t>firmware</a:t>
            </a:r>
            <a:r>
              <a:rPr lang="id-ID" dirty="0"/>
              <a:t> aplikasi dengan membuat </a:t>
            </a:r>
            <a:r>
              <a:rPr lang="id-ID" dirty="0" err="1"/>
              <a:t>Events</a:t>
            </a:r>
            <a:r>
              <a:rPr lang="id-ID" dirty="0"/>
              <a:t>, lalu aplikasi akan bertanggung jawab untuk memproses </a:t>
            </a:r>
            <a:r>
              <a:rPr lang="id-ID" dirty="0" err="1"/>
              <a:t>events</a:t>
            </a:r>
            <a:r>
              <a:rPr lang="id-ID" dirty="0"/>
              <a:t> tersebut. Arsitektur ini berlaku </a:t>
            </a:r>
            <a:r>
              <a:rPr lang="id-ID" dirty="0" err="1"/>
              <a:t>disemua</a:t>
            </a:r>
            <a:r>
              <a:rPr lang="id-ID" dirty="0"/>
              <a:t>  aplikasi ponsel maupun iOS ataupun Android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333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/>
              <a:t>Dapat dilihat pada ilustrasi gambar ketika periferal mulai mati, tidak ada koneksi dari periferal ke </a:t>
            </a:r>
            <a:r>
              <a:rPr lang="id-ID" dirty="0" err="1"/>
              <a:t>central</a:t>
            </a:r>
            <a:r>
              <a:rPr lang="id-ID" dirty="0"/>
              <a:t>. Dalam nilai efisiensi periferal hanya memerlukan daya yang kecil dari baterai kecil dan </a:t>
            </a:r>
            <a:r>
              <a:rPr lang="id-ID" dirty="0" err="1"/>
              <a:t>sebalikanya</a:t>
            </a:r>
            <a:r>
              <a:rPr lang="id-ID" dirty="0"/>
              <a:t> terhadap dengan </a:t>
            </a:r>
            <a:r>
              <a:rPr lang="id-ID" dirty="0" err="1"/>
              <a:t>central</a:t>
            </a:r>
            <a:r>
              <a:rPr lang="id-ID" dirty="0"/>
              <a:t> </a:t>
            </a:r>
            <a:r>
              <a:rPr lang="id-ID" dirty="0" err="1"/>
              <a:t>kerena</a:t>
            </a:r>
            <a:r>
              <a:rPr lang="id-ID" dirty="0"/>
              <a:t> perlu </a:t>
            </a:r>
            <a:r>
              <a:rPr lang="id-ID" dirty="0" err="1"/>
              <a:t>scaning</a:t>
            </a:r>
            <a:r>
              <a:rPr lang="id-ID" dirty="0"/>
              <a:t> </a:t>
            </a:r>
            <a:r>
              <a:rPr lang="id-ID" dirty="0" err="1"/>
              <a:t>prangkat</a:t>
            </a:r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841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sz="1200" dirty="0"/>
              <a:t>(Denyut Jantung, Temperatur), </a:t>
            </a:r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984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 err="1"/>
              <a:t>Stack</a:t>
            </a:r>
            <a:r>
              <a:rPr lang="id-ID" dirty="0"/>
              <a:t> bertanggung jawab untuk melakukan </a:t>
            </a:r>
            <a:r>
              <a:rPr lang="id-ID" dirty="0" err="1"/>
              <a:t>broadcasting</a:t>
            </a:r>
            <a:r>
              <a:rPr lang="id-ID" dirty="0"/>
              <a:t> paket iklan perangkat pada interval yang dapat dikonfigurasi di lingkungan terbuka. Yang artinya semua </a:t>
            </a:r>
            <a:r>
              <a:rPr lang="id-ID" dirty="0" err="1"/>
              <a:t>Bluetooth</a:t>
            </a:r>
            <a:r>
              <a:rPr lang="id-ID" dirty="0"/>
              <a:t>® LE </a:t>
            </a:r>
            <a:r>
              <a:rPr lang="id-ID" dirty="0" err="1"/>
              <a:t>Central</a:t>
            </a:r>
            <a:r>
              <a:rPr lang="id-ID" dirty="0"/>
              <a:t> yang sedang memindai dan berada dalam jangkauan dapat mendeteksi paket iklan dan memprosesnya. Namun cara ini memiliki tingkat keamanan yang rendah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4102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r>
              <a:rPr lang="id-ID" dirty="0"/>
              <a:t> merupakan data </a:t>
            </a:r>
            <a:r>
              <a:rPr lang="id-ID" dirty="0" err="1"/>
              <a:t>string</a:t>
            </a:r>
            <a:r>
              <a:rPr lang="id-ID" dirty="0"/>
              <a:t> yang berjumlah 3-31 </a:t>
            </a:r>
            <a:r>
              <a:rPr lang="id-ID" dirty="0" err="1"/>
              <a:t>byte</a:t>
            </a:r>
            <a:r>
              <a:rPr lang="id-ID" dirty="0"/>
              <a:t> yang </a:t>
            </a:r>
            <a:r>
              <a:rPr lang="id-ID" dirty="0" err="1"/>
              <a:t>dipancarakan</a:t>
            </a:r>
            <a:r>
              <a:rPr lang="id-ID" dirty="0"/>
              <a:t> pada interval yang telah dikonfigurasi. </a:t>
            </a:r>
            <a:r>
              <a:rPr lang="id-ID" dirty="0" err="1"/>
              <a:t>Inteval</a:t>
            </a:r>
            <a:r>
              <a:rPr lang="id-ID" dirty="0"/>
              <a:t> yang terpilih tersebut merupakan interval yang memiliki pengaruh besar terhadap konsumsi daya dan waktu pembentukan koneksi. Lanjut baca </a:t>
            </a:r>
            <a:r>
              <a:rPr lang="id-ID" b="1" dirty="0"/>
              <a:t>pembagian pake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d-ID" dirty="0"/>
              <a:t>Sebagai contoh perangkat </a:t>
            </a:r>
            <a:r>
              <a:rPr lang="id-ID" b="1" dirty="0" err="1"/>
              <a:t>Kentucky</a:t>
            </a:r>
            <a:r>
              <a:rPr lang="id-ID" dirty="0"/>
              <a:t> nama tersebut dapat ditambahkan ke </a:t>
            </a:r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r>
              <a:rPr lang="id-ID" dirty="0"/>
              <a:t> berjumlah 10 </a:t>
            </a:r>
            <a:r>
              <a:rPr lang="id-ID" dirty="0" err="1"/>
              <a:t>byte</a:t>
            </a:r>
            <a:r>
              <a:rPr lang="id-ID" dirty="0"/>
              <a:t>, data tersebut memiliki karakteristik yaitu:</a:t>
            </a:r>
            <a:endParaRPr lang="id-ID" b="1" dirty="0"/>
          </a:p>
          <a:p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539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d-ID" dirty="0"/>
              <a:t>Sebagai contoh perangkat </a:t>
            </a:r>
            <a:r>
              <a:rPr lang="id-ID" b="1" dirty="0" err="1"/>
              <a:t>Kentucky</a:t>
            </a:r>
            <a:r>
              <a:rPr lang="id-ID" dirty="0"/>
              <a:t> nama tersebut dapat ditambahkan ke </a:t>
            </a:r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r>
              <a:rPr lang="id-ID" dirty="0"/>
              <a:t> berjumlah 10 </a:t>
            </a:r>
            <a:r>
              <a:rPr lang="id-ID" dirty="0" err="1"/>
              <a:t>byte</a:t>
            </a:r>
            <a:r>
              <a:rPr lang="id-ID" dirty="0"/>
              <a:t>, data tersebut memiliki karakteristik yaitu:</a:t>
            </a:r>
            <a:endParaRPr lang="id-ID" b="1" dirty="0"/>
          </a:p>
          <a:p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423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d-ID" dirty="0"/>
              <a:t> Pada bagian ini saat </a:t>
            </a:r>
            <a:r>
              <a:rPr lang="id-ID" dirty="0" err="1"/>
              <a:t>central</a:t>
            </a:r>
            <a:r>
              <a:rPr lang="id-ID" dirty="0"/>
              <a:t> </a:t>
            </a:r>
            <a:r>
              <a:rPr lang="id-ID" dirty="0" err="1"/>
              <a:t>apps</a:t>
            </a:r>
            <a:r>
              <a:rPr lang="id-ID" dirty="0"/>
              <a:t> memulai koneksi, </a:t>
            </a:r>
          </a:p>
          <a:p>
            <a:r>
              <a:rPr lang="id-ID" dirty="0"/>
              <a:t>Disisi lain Radio Periferal akan mengumpankan paket ke </a:t>
            </a:r>
            <a:r>
              <a:rPr lang="id-ID" dirty="0" err="1"/>
              <a:t>stack</a:t>
            </a:r>
            <a:r>
              <a:rPr lang="id-ID" dirty="0"/>
              <a:t> dan secara otomatis akan menghentikan iklan. Dalam kondisi ini </a:t>
            </a:r>
            <a:r>
              <a:rPr lang="id-ID" dirty="0" err="1"/>
              <a:t>code</a:t>
            </a:r>
            <a:r>
              <a:rPr lang="id-ID" dirty="0"/>
              <a:t> tidak </a:t>
            </a:r>
            <a:r>
              <a:rPr lang="id-ID" dirty="0" err="1"/>
              <a:t>diperlkan</a:t>
            </a:r>
            <a:r>
              <a:rPr lang="id-ID" dirty="0"/>
              <a:t> untuk merespons permintaan koneksi, namun </a:t>
            </a:r>
            <a:r>
              <a:rPr lang="id-ID" dirty="0" err="1"/>
              <a:t>stack</a:t>
            </a:r>
            <a:r>
              <a:rPr lang="id-ID" dirty="0"/>
              <a:t> yang akan menghasilkan dua </a:t>
            </a:r>
            <a:r>
              <a:rPr lang="id-ID" dirty="0" err="1"/>
              <a:t>feedback</a:t>
            </a:r>
            <a:r>
              <a:rPr lang="id-ID" dirty="0"/>
              <a:t> ke </a:t>
            </a:r>
            <a:r>
              <a:rPr lang="id-ID" dirty="0" err="1"/>
              <a:t>firmware</a:t>
            </a:r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837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072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d-ID" dirty="0"/>
              <a:t>Amir Ardika Cahya Riyatna</a:t>
            </a:r>
          </a:p>
          <a:p>
            <a:r>
              <a:rPr lang="id-ID" dirty="0"/>
              <a:t>25 September 2023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pter 3:  Basic Bluetooth® LE Peripher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2"/>
            <a:ext cx="11520000" cy="108046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id-ID" dirty="0"/>
              <a:t>Pada dasarnya </a:t>
            </a:r>
            <a:r>
              <a:rPr lang="id-ID" dirty="0" err="1"/>
              <a:t>bluetooth</a:t>
            </a:r>
            <a:r>
              <a:rPr lang="id-ID" dirty="0"/>
              <a:t> memiliki sistem kerja yang sama yaitu dengan menulis </a:t>
            </a:r>
            <a:r>
              <a:rPr lang="id-ID" dirty="0" err="1"/>
              <a:t>firmware</a:t>
            </a:r>
            <a:r>
              <a:rPr lang="id-ID" dirty="0"/>
              <a:t> Aplikasi [A] untuk memanggil API </a:t>
            </a:r>
            <a:r>
              <a:rPr lang="id-ID" dirty="0" err="1"/>
              <a:t>Bluetooth</a:t>
            </a:r>
            <a:r>
              <a:rPr lang="en-US" dirty="0"/>
              <a:t>®</a:t>
            </a:r>
            <a:r>
              <a:rPr lang="id-ID" dirty="0"/>
              <a:t> di </a:t>
            </a:r>
            <a:r>
              <a:rPr lang="id-ID" dirty="0" err="1"/>
              <a:t>Stack</a:t>
            </a:r>
            <a:r>
              <a:rPr lang="id-ID" dirty="0"/>
              <a:t> [S]. Lalu </a:t>
            </a:r>
            <a:r>
              <a:rPr lang="id-ID" dirty="0" err="1"/>
              <a:t>Stack</a:t>
            </a:r>
            <a:r>
              <a:rPr lang="id-ID" dirty="0"/>
              <a:t> berkomunikasi dengan Radio [R] yang akan mengirim dan menerima data.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74C7D7E-BE81-B0B9-6397-4072B0E7F61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4800" y="2497061"/>
            <a:ext cx="5688000" cy="3884692"/>
          </a:xfrm>
        </p:spPr>
        <p:txBody>
          <a:bodyPr/>
          <a:lstStyle/>
          <a:p>
            <a:r>
              <a:rPr lang="id-ID" dirty="0"/>
              <a:t>Ada 4 langkah yang perlu ditangani oleh </a:t>
            </a:r>
            <a:r>
              <a:rPr lang="id-ID" dirty="0" err="1"/>
              <a:t>firmware</a:t>
            </a:r>
            <a:r>
              <a:rPr lang="id-ID" dirty="0"/>
              <a:t> aplikasi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err="1"/>
              <a:t>Nyalakan</a:t>
            </a:r>
            <a:r>
              <a:rPr lang="en-US" dirty="0"/>
              <a:t> Bluetooth® Stack</a:t>
            </a:r>
            <a:endParaRPr lang="id-ID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id-ID" dirty="0"/>
              <a:t>Memulai </a:t>
            </a:r>
            <a:r>
              <a:rPr lang="id-ID" dirty="0" err="1"/>
              <a:t>advertising</a:t>
            </a:r>
            <a:r>
              <a:rPr lang="id-ID" dirty="0"/>
              <a:t> supaya dapat terhubu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id-ID" dirty="0"/>
              <a:t>Memproses GATT </a:t>
            </a:r>
            <a:r>
              <a:rPr lang="id-ID" dirty="0" err="1"/>
              <a:t>connection</a:t>
            </a:r>
            <a:r>
              <a:rPr lang="id-ID" dirty="0"/>
              <a:t> </a:t>
            </a:r>
            <a:r>
              <a:rPr lang="id-ID" dirty="0" err="1"/>
              <a:t>events</a:t>
            </a:r>
            <a:r>
              <a:rPr lang="id-ID" dirty="0"/>
              <a:t> dari </a:t>
            </a:r>
            <a:r>
              <a:rPr lang="id-ID" dirty="0" err="1"/>
              <a:t>stack</a:t>
            </a:r>
            <a:endParaRPr lang="id-ID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id-ID" dirty="0"/>
              <a:t>Memproses GATT </a:t>
            </a:r>
            <a:r>
              <a:rPr lang="id-ID" dirty="0" err="1"/>
              <a:t>attribute</a:t>
            </a:r>
            <a:r>
              <a:rPr lang="id-ID" dirty="0"/>
              <a:t> </a:t>
            </a:r>
            <a:r>
              <a:rPr lang="id-ID" dirty="0" err="1"/>
              <a:t>requests</a:t>
            </a:r>
            <a:r>
              <a:rPr lang="id-ID" dirty="0"/>
              <a:t> dari </a:t>
            </a:r>
            <a:r>
              <a:rPr lang="id-ID" dirty="0" err="1"/>
              <a:t>stack</a:t>
            </a:r>
            <a:r>
              <a:rPr lang="id-ID" dirty="0"/>
              <a:t> seperti </a:t>
            </a:r>
            <a:r>
              <a:rPr lang="id-ID" dirty="0" err="1"/>
              <a:t>read</a:t>
            </a:r>
            <a:r>
              <a:rPr lang="id-ID" dirty="0"/>
              <a:t> </a:t>
            </a:r>
            <a:r>
              <a:rPr lang="id-ID" dirty="0" err="1"/>
              <a:t>and</a:t>
            </a:r>
            <a:r>
              <a:rPr lang="id-ID" dirty="0"/>
              <a:t> </a:t>
            </a:r>
            <a:r>
              <a:rPr lang="id-ID" dirty="0" err="1"/>
              <a:t>write</a:t>
            </a:r>
            <a:r>
              <a:rPr lang="id-ID" dirty="0"/>
              <a:t> dan melalukan </a:t>
            </a:r>
            <a:r>
              <a:rPr lang="id-ID" dirty="0" err="1"/>
              <a:t>menejemen</a:t>
            </a:r>
            <a:r>
              <a:rPr lang="id-ID" dirty="0"/>
              <a:t> </a:t>
            </a:r>
            <a:r>
              <a:rPr lang="id-ID" dirty="0" err="1"/>
              <a:t>memory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 anchor="b">
            <a:normAutofit/>
          </a:bodyPr>
          <a:lstStyle/>
          <a:p>
            <a:r>
              <a:rPr lang="en-US" dirty="0"/>
              <a:t>Bluetooth® LE system lifecyc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410EA8-BA68-D142-8F2B-B562D0B50F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8168" y="2034820"/>
            <a:ext cx="3409990" cy="434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979B94-E90D-F5DA-2F54-C38D6586C7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308782"/>
            <a:ext cx="11520000" cy="5113337"/>
          </a:xfrm>
        </p:spPr>
        <p:txBody>
          <a:bodyPr/>
          <a:lstStyle/>
          <a:p>
            <a:r>
              <a:rPr lang="id-ID" dirty="0"/>
              <a:t>Poin utama pada koneksi </a:t>
            </a:r>
            <a:r>
              <a:rPr lang="id-ID" dirty="0" err="1"/>
              <a:t>Bluetooth</a:t>
            </a:r>
            <a:r>
              <a:rPr lang="id-ID" dirty="0"/>
              <a:t> LE yaitu </a:t>
            </a:r>
            <a:r>
              <a:rPr lang="id-ID" b="1" dirty="0"/>
              <a:t>Periferal</a:t>
            </a:r>
            <a:r>
              <a:rPr lang="id-ID" dirty="0"/>
              <a:t> dan </a:t>
            </a:r>
            <a:r>
              <a:rPr lang="id-ID" b="1" dirty="0" err="1"/>
              <a:t>Central</a:t>
            </a:r>
            <a:r>
              <a:rPr lang="id-ID" dirty="0"/>
              <a:t>. </a:t>
            </a:r>
          </a:p>
          <a:p>
            <a:r>
              <a:rPr lang="id-ID" dirty="0"/>
              <a:t>Hal yang diperlukan pada </a:t>
            </a:r>
            <a:r>
              <a:rPr lang="id-ID" dirty="0" err="1"/>
              <a:t>firmware</a:t>
            </a:r>
            <a:r>
              <a:rPr lang="id-ID" dirty="0"/>
              <a:t> adalah mengaktifkan </a:t>
            </a:r>
            <a:r>
              <a:rPr lang="id-ID" dirty="0" err="1"/>
              <a:t>Bluetooth</a:t>
            </a:r>
            <a:r>
              <a:rPr lang="id-ID" dirty="0"/>
              <a:t> LE, yang artinya menganalisis </a:t>
            </a:r>
            <a:r>
              <a:rPr lang="id-ID" dirty="0" err="1"/>
              <a:t>stack</a:t>
            </a:r>
            <a:r>
              <a:rPr lang="id-ID" dirty="0"/>
              <a:t> dan menyediakan fungsi yang akan dipanggil ketika </a:t>
            </a:r>
            <a:r>
              <a:rPr lang="id-ID" dirty="0" err="1"/>
              <a:t>stack</a:t>
            </a:r>
            <a:r>
              <a:rPr lang="id-ID" dirty="0"/>
              <a:t> memiliki </a:t>
            </a:r>
            <a:r>
              <a:rPr lang="id-ID" dirty="0" err="1"/>
              <a:t>events</a:t>
            </a:r>
            <a:r>
              <a:rPr lang="id-ID" dirty="0"/>
              <a:t> yang akan diproses (</a:t>
            </a:r>
            <a:r>
              <a:rPr lang="id-ID" dirty="0" err="1"/>
              <a:t>callback</a:t>
            </a:r>
            <a:r>
              <a:rPr lang="id-ID" dirty="0"/>
              <a:t>). </a:t>
            </a:r>
            <a:endParaRPr lang="id-ID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24FC33-57AD-BAB0-E6E7-3F1890847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err="1"/>
              <a:t>Turn</a:t>
            </a:r>
            <a:r>
              <a:rPr lang="id-ID" dirty="0"/>
              <a:t> </a:t>
            </a:r>
            <a:r>
              <a:rPr lang="id-ID" dirty="0" err="1"/>
              <a:t>on</a:t>
            </a:r>
            <a:r>
              <a:rPr lang="id-ID" dirty="0"/>
              <a:t> </a:t>
            </a:r>
            <a:r>
              <a:rPr lang="id-ID" dirty="0" err="1"/>
              <a:t>the</a:t>
            </a:r>
            <a:r>
              <a:rPr lang="id-ID" dirty="0"/>
              <a:t> </a:t>
            </a:r>
            <a:r>
              <a:rPr lang="id-ID" dirty="0" err="1"/>
              <a:t>stack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B2C89F-C114-BFD4-36BC-BD077977A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4244F8-757F-0C38-7065-B797FADD46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CA86EF-C7A3-3B02-267F-F6D5F0095B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5252" y="2852936"/>
            <a:ext cx="7341495" cy="290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3001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72BC05A-3237-0940-2F08-DDFF91C05E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1305816" cy="5113337"/>
          </a:xfrm>
        </p:spPr>
        <p:txBody>
          <a:bodyPr/>
          <a:lstStyle/>
          <a:p>
            <a:r>
              <a:rPr lang="id-ID" sz="2000" dirty="0"/>
              <a:t>Pada proses ini </a:t>
            </a:r>
            <a:r>
              <a:rPr lang="id-ID" sz="2000" b="1" dirty="0" err="1"/>
              <a:t>advertasing</a:t>
            </a:r>
            <a:r>
              <a:rPr lang="id-ID" sz="2000" dirty="0"/>
              <a:t> aktif untuk memberi tahu perangkat </a:t>
            </a:r>
            <a:r>
              <a:rPr lang="id-ID" sz="2000" b="1" dirty="0" err="1"/>
              <a:t>central</a:t>
            </a:r>
            <a:r>
              <a:rPr lang="id-ID" sz="2000" dirty="0"/>
              <a:t>, paket </a:t>
            </a:r>
            <a:r>
              <a:rPr lang="id-ID" sz="2000" dirty="0" err="1"/>
              <a:t>advertising</a:t>
            </a:r>
            <a:r>
              <a:rPr lang="id-ID" sz="2000" dirty="0"/>
              <a:t> yang dikirim berisi </a:t>
            </a:r>
            <a:r>
              <a:rPr lang="id-ID" sz="2000" dirty="0" err="1"/>
              <a:t>Bluetooth</a:t>
            </a:r>
            <a:r>
              <a:rPr lang="id-ID" sz="2000" dirty="0"/>
              <a:t>® </a:t>
            </a:r>
            <a:r>
              <a:rPr lang="id-ID" sz="2000" dirty="0" err="1"/>
              <a:t>Device</a:t>
            </a:r>
            <a:r>
              <a:rPr lang="id-ID" sz="2000" dirty="0"/>
              <a:t> </a:t>
            </a:r>
            <a:r>
              <a:rPr lang="id-ID" sz="2000" dirty="0" err="1"/>
              <a:t>Address</a:t>
            </a:r>
            <a:r>
              <a:rPr lang="id-ID" sz="2000" dirty="0"/>
              <a:t> (BDA), beberapa informasi lain yang bersifat opsional seperti nama perangkat atau pun data sensor, dan paket iklan ini berukuran </a:t>
            </a:r>
            <a:r>
              <a:rPr lang="id-ID" sz="2000" b="1" dirty="0"/>
              <a:t>31 </a:t>
            </a:r>
            <a:r>
              <a:rPr lang="id-ID" sz="2000" b="1" dirty="0" err="1"/>
              <a:t>byte</a:t>
            </a:r>
            <a:r>
              <a:rPr lang="id-ID" sz="2000" b="1" dirty="0"/>
              <a:t> </a:t>
            </a:r>
            <a:r>
              <a:rPr lang="id-ID" sz="2000" dirty="0"/>
              <a:t>untuk </a:t>
            </a:r>
            <a:r>
              <a:rPr lang="id-ID" sz="2000" dirty="0" err="1"/>
              <a:t>primary</a:t>
            </a:r>
            <a:r>
              <a:rPr lang="id-ID" sz="2000" dirty="0"/>
              <a:t> dan </a:t>
            </a:r>
            <a:r>
              <a:rPr lang="id-ID" sz="2000" dirty="0" err="1"/>
              <a:t>secondary</a:t>
            </a:r>
            <a:r>
              <a:rPr lang="id-ID" sz="2000" dirty="0"/>
              <a:t> mampu hingga </a:t>
            </a:r>
            <a:r>
              <a:rPr lang="id-ID" sz="2000" b="1" dirty="0"/>
              <a:t>254 </a:t>
            </a:r>
            <a:r>
              <a:rPr lang="id-ID" sz="2000" b="1" dirty="0" err="1"/>
              <a:t>byte</a:t>
            </a:r>
            <a:r>
              <a:rPr lang="id-ID" sz="2000" dirty="0"/>
              <a:t>.</a:t>
            </a:r>
          </a:p>
          <a:p>
            <a:r>
              <a:rPr lang="id-ID" sz="2000" dirty="0"/>
              <a:t>Ada 4 jenis utama paket </a:t>
            </a:r>
            <a:r>
              <a:rPr lang="id-ID" sz="2000" dirty="0" err="1"/>
              <a:t>Advertising</a:t>
            </a:r>
            <a:r>
              <a:rPr lang="id-ID" sz="2000" dirty="0"/>
              <a:t>:</a:t>
            </a:r>
          </a:p>
          <a:p>
            <a:pPr lvl="1"/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BTM_BLE_EVT_CONNECTABLE_ADVERTISEMENT</a:t>
            </a:r>
          </a:p>
          <a:p>
            <a:pPr lvl="1"/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BTM_BLE_EVT_CONNECTABLE_DIRECTED_ADVERTISEMENT</a:t>
            </a:r>
          </a:p>
          <a:p>
            <a:pPr lvl="1"/>
            <a:r>
              <a:rPr lang="nb-NO" sz="1800" b="0" i="0" u="none" strike="noStrike" baseline="0" dirty="0">
                <a:solidFill>
                  <a:srgbClr val="000000"/>
                </a:solidFill>
                <a:latin typeface="CourierNew"/>
              </a:rPr>
              <a:t>BTM_BLE_EVT_SCANNABLE_ADVERTISEMENT</a:t>
            </a:r>
          </a:p>
          <a:p>
            <a:pPr lvl="1"/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BTM_BLE_EVT_NON_CONNECTABLE_ADVERTISEMENT</a:t>
            </a:r>
            <a:endParaRPr lang="id-ID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EFAD4E-E97B-D59C-563C-07817DC64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/>
              <a:t>Start </a:t>
            </a:r>
            <a:r>
              <a:rPr lang="id-ID" dirty="0" err="1"/>
              <a:t>advertising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76AEC3-1F6E-0983-C1C2-0A067DD5CD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5B3FE-45B0-1711-3FC9-89A2AF30B6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731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EFAD4E-E97B-D59C-563C-07817DC64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/>
              <a:t>Start </a:t>
            </a:r>
            <a:r>
              <a:rPr lang="id-ID" dirty="0" err="1"/>
              <a:t>advertising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76AEC3-1F6E-0983-C1C2-0A067DD5CD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5B3FE-45B0-1711-3FC9-89A2AF30B6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819F448-3575-52A7-4C05-1594939253D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601998" y="1301265"/>
            <a:ext cx="10988003" cy="425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16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5376C-BA93-D9BA-A667-1C04E2926E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6337266" cy="5113337"/>
          </a:xfrm>
        </p:spPr>
        <p:txBody>
          <a:bodyPr/>
          <a:lstStyle/>
          <a:p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r>
              <a:rPr lang="id-ID" dirty="0"/>
              <a:t> merupakan </a:t>
            </a:r>
            <a:r>
              <a:rPr lang="id-ID" dirty="0" err="1"/>
              <a:t>string</a:t>
            </a:r>
            <a:r>
              <a:rPr lang="id-ID" dirty="0"/>
              <a:t> 3-31 </a:t>
            </a:r>
            <a:r>
              <a:rPr lang="id-ID" dirty="0" err="1"/>
              <a:t>byte</a:t>
            </a:r>
            <a:r>
              <a:rPr lang="id-ID" dirty="0"/>
              <a:t>. Paket memiliki variasi yang berbeda </a:t>
            </a:r>
            <a:r>
              <a:rPr lang="id-ID" dirty="0" err="1"/>
              <a:t>disetiap</a:t>
            </a:r>
            <a:r>
              <a:rPr lang="id-ID" dirty="0"/>
              <a:t> bidang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Length in bytes (not including the Length byte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Typ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Optional Data</a:t>
            </a:r>
            <a:endParaRPr lang="id-ID" dirty="0"/>
          </a:p>
          <a:p>
            <a:r>
              <a:rPr lang="id-ID" dirty="0"/>
              <a:t>Fungsi </a:t>
            </a:r>
            <a:r>
              <a:rPr lang="id-ID" dirty="0" err="1"/>
              <a:t>Bluetooth</a:t>
            </a:r>
            <a:r>
              <a:rPr lang="id-ID" dirty="0"/>
              <a:t>® API 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CourierNew"/>
              </a:rPr>
              <a:t>wiced_bt_ble_set_raw_advertisement_data</a:t>
            </a:r>
            <a:r>
              <a:rPr lang="id-ID" dirty="0">
                <a:solidFill>
                  <a:srgbClr val="000000"/>
                </a:solidFill>
                <a:latin typeface="CourierNew"/>
              </a:rPr>
              <a:t> </a:t>
            </a:r>
            <a:r>
              <a:rPr lang="id-ID" dirty="0"/>
              <a:t>memungkinkan perangkat </a:t>
            </a:r>
            <a:r>
              <a:rPr lang="id-ID" dirty="0" err="1"/>
              <a:t>mengkonfigurasi</a:t>
            </a:r>
            <a:r>
              <a:rPr lang="id-ID" dirty="0"/>
              <a:t> data dalam paket.</a:t>
            </a:r>
          </a:p>
          <a:p>
            <a:endParaRPr lang="id-ID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2D75F7-CDF9-7C45-22BF-1BAE78439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E89AA3-5569-A7F8-0A01-6C9CF62615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68F5DD-F82B-6080-1933-0527C810A0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4736ED-8D68-B416-D4DA-F333C3CE00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66" y="1638582"/>
            <a:ext cx="5094635" cy="358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5295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31E9E36-F9F7-53CF-EBDC-08A04DDD59E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id-ID" dirty="0"/>
              <a:t>Sebagai contoh perangkat </a:t>
            </a:r>
            <a:r>
              <a:rPr lang="id-ID" b="1" dirty="0" err="1"/>
              <a:t>Kentucky</a:t>
            </a:r>
            <a:r>
              <a:rPr lang="id-ID" dirty="0"/>
              <a:t> yang berjumlah 10 </a:t>
            </a:r>
            <a:r>
              <a:rPr lang="id-ID" dirty="0" err="1"/>
              <a:t>byte</a:t>
            </a:r>
            <a:r>
              <a:rPr lang="id-ID" dirty="0"/>
              <a:t>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id-ID" dirty="0"/>
              <a:t>Panjang: 9 (1 untuk jenis bidang dan 8 untuk data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id-ID" dirty="0"/>
              <a:t>Jenis: </a:t>
            </a:r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BTM_BLE_ADVERT_TYPE_NAME_COMPLET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id-ID" sz="1800" b="0" i="0" u="none" strike="noStrike" baseline="0" dirty="0">
                <a:solidFill>
                  <a:srgbClr val="000000"/>
                </a:solidFill>
                <a:latin typeface="SourceSansPro"/>
              </a:rPr>
              <a:t>Data: </a:t>
            </a:r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'K', 'e', 'n', 't', 'u', 'c', 'k', ‘y’</a:t>
            </a:r>
            <a:endParaRPr lang="id-ID" dirty="0"/>
          </a:p>
          <a:p>
            <a:r>
              <a:rPr lang="id-ID" dirty="0"/>
              <a:t>Yang menjadi catatan parameter </a:t>
            </a:r>
            <a:r>
              <a:rPr lang="id-ID" sz="1800" b="0" i="0" u="none" strike="noStrike" baseline="0" dirty="0" err="1">
                <a:solidFill>
                  <a:srgbClr val="000000"/>
                </a:solidFill>
                <a:latin typeface="CourierNew"/>
              </a:rPr>
              <a:t>len</a:t>
            </a:r>
            <a:r>
              <a:rPr lang="id-ID" sz="1800" b="0" i="0" u="none" strike="noStrike" baseline="0" dirty="0">
                <a:solidFill>
                  <a:srgbClr val="000000"/>
                </a:solidFill>
                <a:latin typeface="CourierNew"/>
              </a:rPr>
              <a:t> </a:t>
            </a:r>
            <a:r>
              <a:rPr lang="id-ID" dirty="0"/>
              <a:t>adalah panjang data saja tidak termasuk 1 </a:t>
            </a:r>
            <a:r>
              <a:rPr lang="id-ID" dirty="0" err="1"/>
              <a:t>byte</a:t>
            </a:r>
            <a:r>
              <a:rPr lang="id-ID" dirty="0"/>
              <a:t> jenis bidang </a:t>
            </a:r>
            <a:r>
              <a:rPr lang="id-ID" dirty="0" err="1"/>
              <a:t>advertising</a:t>
            </a:r>
            <a:endParaRPr lang="id-ID" dirty="0"/>
          </a:p>
          <a:p>
            <a:pPr marL="252000" lvl="1" indent="0">
              <a:buNone/>
            </a:pPr>
            <a:endParaRPr lang="id-ID" sz="1800" dirty="0"/>
          </a:p>
          <a:p>
            <a:endParaRPr lang="id-ID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C94C63-459D-2B51-9A13-787D1AA36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err="1"/>
              <a:t>Advertising</a:t>
            </a:r>
            <a:r>
              <a:rPr lang="id-ID" dirty="0"/>
              <a:t> </a:t>
            </a:r>
            <a:r>
              <a:rPr lang="id-ID" dirty="0" err="1"/>
              <a:t>packets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74155B-F23C-71F3-9B06-C9AD686BAE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87522C-C789-4452-1424-768FDDC611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6B8892-D6EF-9DF8-FDF2-6CF9D663E0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2979" y="3825082"/>
            <a:ext cx="8523642" cy="1448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003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29C6196-30D7-D65E-773B-568E019FE6C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id-ID" dirty="0"/>
              <a:t>Pada bagian ini saat </a:t>
            </a:r>
            <a:r>
              <a:rPr lang="id-ID" dirty="0" err="1"/>
              <a:t>central</a:t>
            </a:r>
            <a:r>
              <a:rPr lang="id-ID" dirty="0"/>
              <a:t> </a:t>
            </a:r>
            <a:r>
              <a:rPr lang="id-ID" dirty="0" err="1"/>
              <a:t>apps</a:t>
            </a:r>
            <a:r>
              <a:rPr lang="id-ID" dirty="0"/>
              <a:t> memulai koneksi, sebuah fungsi akan aktif untuk memicu </a:t>
            </a:r>
            <a:r>
              <a:rPr lang="id-ID" dirty="0" err="1"/>
              <a:t>Stack</a:t>
            </a:r>
            <a:r>
              <a:rPr lang="id-ID" dirty="0"/>
              <a:t> untuk menghasilkan paket </a:t>
            </a:r>
            <a:r>
              <a:rPr lang="id-ID" dirty="0" err="1"/>
              <a:t>Bluetooth</a:t>
            </a:r>
            <a:r>
              <a:rPr lang="id-ID" dirty="0"/>
              <a:t> yang disebut </a:t>
            </a:r>
            <a:r>
              <a:rPr lang="id-ID" b="1" dirty="0" err="1"/>
              <a:t>conn_req</a:t>
            </a:r>
            <a:r>
              <a:rPr lang="id-ID" dirty="0"/>
              <a:t> yang akan keluar dari radio </a:t>
            </a:r>
            <a:r>
              <a:rPr lang="id-ID" dirty="0" err="1"/>
              <a:t>central</a:t>
            </a:r>
            <a:r>
              <a:rPr lang="id-ID" dirty="0"/>
              <a:t> melalui open air</a:t>
            </a:r>
          </a:p>
          <a:p>
            <a:r>
              <a:rPr lang="id-ID" dirty="0"/>
              <a:t>Radio Periferal akan mengumpankan paket ke </a:t>
            </a:r>
            <a:r>
              <a:rPr lang="id-ID" b="1" dirty="0" err="1"/>
              <a:t>stack</a:t>
            </a:r>
            <a:r>
              <a:rPr lang="id-ID" dirty="0"/>
              <a:t> dan secara otomatis akan menghentikan iklan. Dalam kondisi ini </a:t>
            </a:r>
            <a:r>
              <a:rPr lang="id-ID" dirty="0" err="1"/>
              <a:t>code</a:t>
            </a:r>
            <a:r>
              <a:rPr lang="id-ID" dirty="0"/>
              <a:t> tidak diperlukan untuk merespons permintaan koneksi, namun </a:t>
            </a:r>
            <a:r>
              <a:rPr lang="id-ID" dirty="0" err="1"/>
              <a:t>stack</a:t>
            </a:r>
            <a:r>
              <a:rPr lang="id-ID" dirty="0"/>
              <a:t> yang akan menghasilkan dua </a:t>
            </a:r>
            <a:r>
              <a:rPr lang="id-ID" dirty="0" err="1"/>
              <a:t>feedback</a:t>
            </a:r>
            <a:r>
              <a:rPr lang="id-ID" dirty="0"/>
              <a:t> ke </a:t>
            </a:r>
            <a:r>
              <a:rPr lang="id-ID" dirty="0" err="1"/>
              <a:t>firmware</a:t>
            </a:r>
            <a:endParaRPr lang="id-ID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1A1E88-8EB7-28D4-B432-FC9E77E8D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err="1"/>
              <a:t>Make</a:t>
            </a:r>
            <a:r>
              <a:rPr lang="id-ID" dirty="0"/>
              <a:t> a </a:t>
            </a:r>
            <a:r>
              <a:rPr lang="id-ID" dirty="0" err="1"/>
              <a:t>connection</a:t>
            </a:r>
            <a:endParaRPr lang="id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45BCE0-BB6E-A266-797B-B534C7EB1F7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B04D5-75BE-312F-0A64-E10B0EE6DA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AA9995-5E7B-F6E0-4832-B432A5F9C1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44" y="3429000"/>
            <a:ext cx="11026112" cy="2591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606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2BDDAC-F369-3AAC-CBCD-76ECE5B118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EC1E36-85B9-DEBA-D98C-BD478CA94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/>
              <a:t>Exchange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F41CDF-D0FA-FAA0-D3B2-9BE7C9ECA2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36DE7-1931-C4DF-F4F0-8314FB1EA4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535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42</TotalTime>
  <Words>827</Words>
  <Application>Microsoft Office PowerPoint</Application>
  <PresentationFormat>Widescreen</PresentationFormat>
  <Paragraphs>85</Paragraphs>
  <Slides>1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ourierNew</vt:lpstr>
      <vt:lpstr>SourceSansPro</vt:lpstr>
      <vt:lpstr>Wingdings</vt:lpstr>
      <vt:lpstr>Infineon 16:9</vt:lpstr>
      <vt:lpstr>Chapter 3:  Basic Bluetooth® LE Peripheral</vt:lpstr>
      <vt:lpstr>Bluetooth® LE system lifecycle</vt:lpstr>
      <vt:lpstr>Turn on the stack</vt:lpstr>
      <vt:lpstr>Start advertising</vt:lpstr>
      <vt:lpstr>Start advertising</vt:lpstr>
      <vt:lpstr>Advertising packets</vt:lpstr>
      <vt:lpstr>Advertising packets</vt:lpstr>
      <vt:lpstr>Make a connection</vt:lpstr>
      <vt:lpstr>Exchange data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3:  Basic Bluetooth® LE Peripheral</dc:title>
  <dc:creator>Amir Ardika Cahya Riyatna (IFID CAE)</dc:creator>
  <cp:lastModifiedBy>Amir Ardika Cahya Riyatna (IFID CAE)</cp:lastModifiedBy>
  <cp:revision>1</cp:revision>
  <dcterms:created xsi:type="dcterms:W3CDTF">2023-10-25T02:30:54Z</dcterms:created>
  <dcterms:modified xsi:type="dcterms:W3CDTF">2023-10-25T09:5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